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88" r:id="rId3"/>
    <p:sldId id="279" r:id="rId4"/>
    <p:sldId id="280" r:id="rId5"/>
    <p:sldId id="281" r:id="rId6"/>
    <p:sldId id="290" r:id="rId7"/>
    <p:sldId id="282" r:id="rId8"/>
    <p:sldId id="291" r:id="rId9"/>
    <p:sldId id="292" r:id="rId10"/>
    <p:sldId id="294" r:id="rId11"/>
    <p:sldId id="293" r:id="rId12"/>
    <p:sldId id="283" r:id="rId13"/>
    <p:sldId id="286" r:id="rId14"/>
    <p:sldId id="284" r:id="rId15"/>
    <p:sldId id="285" r:id="rId16"/>
    <p:sldId id="287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198AE8-BC21-45CC-B73B-62B93BF8BEA8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53115C-CFF1-4F4A-B186-9CC1957FC8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809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3115C-CFF1-4F4A-B186-9CC1957FC84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9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0F0EC70-AAAA-4812-B222-25735EF17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34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0D8D91B-85D4-4CE4-8D76-84A42944E8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C908BA-0077-4D01-AD44-B21BE813ED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34550B-FFB3-437D-90ED-E796DFB004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62BAC-3300-499D-AA42-017F94260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EC4DFE-3C13-46C1-8D14-7D82CC85B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73EE0C-A9B0-4004-94CB-43A8F25FB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64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2ABAA0-5C42-4937-8A03-D85C219FD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48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5FF453A-289B-4134-B4A4-D7D875B010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89C27-9C18-4AC1-A969-515BCF3C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B6AA8A-CDC4-49CB-B066-0E9CB9FBD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398BD2-407C-44EC-B6C8-97F060C0B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777931-68D1-4AC6-9F72-F2D383DE1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52AFAE-BB4E-4F2B-946F-644298018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85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D6FF469-2477-4155-8FFF-91D659187D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46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EDA9DC0-1B9B-443A-9B69-654F1297C1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C55C25-8446-490B-AE6C-5A00EB1237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4CF939-5839-4BAA-A5E5-5BBCCD8593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AC850F-5F71-4708-8D8D-AFB44CE02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E6B4B-22F0-4C55-8DEC-DF1854051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D1869-2EE9-4DFC-B5EB-9865AA8CA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67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675FCA-7DC1-491C-96CB-126C35F7A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74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7710AB-9D2D-43A8-963B-48ECE4A3E9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C42A-81BA-4089-B22F-B34C24355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DAB75-1662-4677-A019-500340B79D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DF8C4-0FF8-489A-A343-0084263D8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1B2C28-A8EE-49B7-820B-2995E4E25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7A5BE7-9C5E-4884-BB1D-4040D70F6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50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5B0A57-AF86-4B0E-8075-85C5D7A53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9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599E9A-4751-4824-8B2A-E7C224AA57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00441A-8994-4429-929C-6CF10A1AC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EFB981-64AE-4779-B141-D1DCD4077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C0FB45-5711-4F93-8309-E1625169F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220137-B30C-4441-A351-FC2146211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D173B-26B8-4F62-AF94-BA2161C0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18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895D0D9-560F-40A6-892F-BAC87FF19B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672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42DE991-01B0-4687-9B59-E503CF991A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BF2190-BDE8-4495-A38B-52A3CEF14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637D7-DEDE-46E9-A239-41287AC9DC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EEA095-A24A-40CD-A1BC-D3DEC65D39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CA8EF8-76EB-491D-8546-B91A7C7CE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DE1A9B-A2D7-4D5B-9517-7065D1E16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ED2D27-3491-4186-A760-0D15E569C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331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ED8F0A3-48BE-402E-A06A-BF0A83FE61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1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DF2A2C1-2437-4FE1-8C51-85D1A69BFA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5C98E8-AAD3-4197-B283-4C690EB34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D7D936-4062-40E2-BBDD-456F480CA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33E45C-9D43-4F6D-A4BC-B8155B36F0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3E8F3A-1E68-4281-8C72-B9C677DBAD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E9BE9B-AEAD-4C50-B751-0D500D2817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A59DAB-7EC2-452B-8633-8131B01F8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25A268-ACFA-4B2D-A345-50A4B75FB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1D53D7-C973-4A3D-A9F5-77B339C0E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48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3E1471-381F-46A8-9E13-979C525339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12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1109B70-6EEF-4109-8737-74264356E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7A2D23-CA5B-4109-878F-735AE2CB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D5B305-D008-497E-A1DE-3997F12AB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546F85-768A-4875-B0EB-AA72E2DC1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960E5-DC2E-497A-BB5D-51D6CBC39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814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762F89-9F71-487A-8A71-C333E3C0C5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17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99EB5D-A9A3-4F7F-9D2A-3995A103B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B26156-0738-449C-8A6A-89BBAC249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264D13-675C-4AF1-8C22-F3B82C715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680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5D09512-D970-4E72-B663-183AB54DCC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98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037475C-E417-485A-B20C-5487B1AA2B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653084-3915-4156-B96C-BEE99BC3D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CFDF6-946A-41AB-BA87-595223285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967C4E-CB1E-4360-AD5C-7C32F73B6C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5F097-18C8-4333-AC20-14229DB20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C65680-332B-474B-8591-297F8373B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9BC9B3-88FD-492A-B357-6F2946F0F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56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753FAA9-7CFE-43CB-86CA-2176497D19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51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70DAD15-245E-453F-B7BF-1AC8665F36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E9106-3EA9-4F63-B98B-11C4F6E94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796BE3-3BCD-4A8D-A8B2-23A2CE3E81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2210F3-AC3F-40E0-A314-3A8598A949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FF7082-0A6E-4045-81FA-6E056A73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C9828E-82E2-43A8-B7CA-F78576611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EB0A6A-A257-4E0A-A13A-3B1C9255D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087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8BADA8-9B55-4B14-B1D0-5FF2957ABF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709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18BE99C-8ED3-4C58-A8C4-0279A344530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D37434-7D9A-4CE4-85CC-DE98A21E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22885"/>
            <a:ext cx="1169924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07D0E5-3AA0-45DF-8454-AE027F6C95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91C843-4F76-45CF-B95F-98ED17E225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638407-5318-4B6B-BC64-85C4DA6477A1}" type="datetimeFigureOut">
              <a:rPr lang="en-US" smtClean="0"/>
              <a:t>6/7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8D1DC-BF77-4E43-8401-C400B89ADD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4D695F-C2CC-4FC0-B2C1-29B3DFE27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6CAC0A-6ED4-4392-A19D-43EC9EB610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47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7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6.xml"/><Relationship Id="rId7" Type="http://schemas.openxmlformats.org/officeDocument/2006/relationships/image" Target="../media/image1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0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50.xml"/><Relationship Id="rId7" Type="http://schemas.openxmlformats.org/officeDocument/2006/relationships/image" Target="../media/image21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2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2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4.xml"/><Relationship Id="rId7" Type="http://schemas.openxmlformats.org/officeDocument/2006/relationships/image" Target="../media/image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8.xml"/><Relationship Id="rId7" Type="http://schemas.openxmlformats.org/officeDocument/2006/relationships/image" Target="../media/image1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0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35D25E-DDC1-4F7C-BDAA-AA19570F7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40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6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35B112-C25C-4A1B-AF26-ED0A0645ED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3DE20B-B474-47A3-8C97-27FB47B09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91531"/>
            <a:ext cx="5653549" cy="2387600"/>
          </a:xfrm>
        </p:spPr>
        <p:txBody>
          <a:bodyPr>
            <a:normAutofit fontScale="90000"/>
          </a:bodyPr>
          <a:lstStyle/>
          <a:p>
            <a:r>
              <a:rPr lang="en-US" dirty="0"/>
              <a:t>Analysis of Draft Value &amp; Predictors of Success in the NFL Draft​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E9E2C6-092F-4203-BD3A-954F2CDDBB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5625" y="4450739"/>
            <a:ext cx="3382297" cy="165576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avid Barer, Karam Chadha, Bradley </a:t>
            </a:r>
            <a:r>
              <a:rPr lang="en-US" dirty="0" err="1"/>
              <a:t>Feingerts</a:t>
            </a:r>
            <a:r>
              <a:rPr lang="en-US" dirty="0"/>
              <a:t>, Patrick Holbrook, Chris Payne, Fernando Serrano</a:t>
            </a:r>
          </a:p>
        </p:txBody>
      </p:sp>
      <p:pic>
        <p:nvPicPr>
          <p:cNvPr id="19507" name="Picture 51" descr="Watch the best moments in Super Bowl history, including New York ...">
            <a:extLst>
              <a:ext uri="{FF2B5EF4-FFF2-40B4-BE49-F238E27FC236}">
                <a16:creationId xmlns:a16="http://schemas.microsoft.com/office/drawing/2014/main" id="{78D827AA-BE65-453B-B8A8-3E1FF6E7D2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3" r="16236"/>
          <a:stretch/>
        </p:blipFill>
        <p:spPr bwMode="auto">
          <a:xfrm>
            <a:off x="5653549" y="0"/>
            <a:ext cx="6538452" cy="6856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7069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E12FB7-6908-4884-94C4-297C2016D7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87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DE3EA91-9328-4915-832A-3413435C3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913FF-265C-4D31-AA7F-106B3ED48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Ms know what they are doing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6F6E75-5C22-4F77-8C7B-3949F27F6F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5513" y="1837233"/>
            <a:ext cx="5895238" cy="4610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3323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55CEC3-9AEC-4FDC-A0CD-81DA31C3EF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20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0C0CDE-E1C0-4AB4-881D-2480EEAE3B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E4F0C-6BC9-47F3-80F8-6BCCA69BA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by Draft Ran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3112D7-350A-43F2-BEF7-FA04799585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320" y="1914872"/>
            <a:ext cx="5096458" cy="39855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B752A8-0AD2-4D58-9D1C-723D8D5A8F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8267" y="1914872"/>
            <a:ext cx="5294181" cy="414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98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00D3E5-FCED-400D-8D99-E7A4F61E18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61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1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32352BF-A098-4F02-BB28-6685350E21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1B450E-9FB1-4CD8-8D2C-185720729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Regressing Salary Within Season PFF and Performa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18C7DA-35CD-4941-AB44-15A7E5D4A1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722" y="1433055"/>
            <a:ext cx="10880556" cy="456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844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9C744DD-D25F-455E-9512-9360D7F14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65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B221499-45CB-49CE-913C-C43CAABD48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2FF1B-1682-4027-894F-4F9436F28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Scatter Plo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17CA73-65CF-40B2-9FF9-ABAFEF53C7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11" y="1737191"/>
            <a:ext cx="5871049" cy="48569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3223A3-0495-4FDD-93A0-413AC9B8CD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32760" y="1737192"/>
            <a:ext cx="5871048" cy="485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3289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D07354-9D8F-4809-9E42-ED6B5443DB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276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201AD30-4588-4D38-BF0D-3FC9814E9C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9373FE-BF35-49C7-AF81-346FAE442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PFF does not correlate with snaps as well as receptions other usage metrics do (opportunit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B5CC2D-2DB2-46F8-9187-67869C9DC0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4793" y="1589413"/>
            <a:ext cx="6793359" cy="497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703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C7FDA9-2E25-4C29-83CB-3E6FE67029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86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451673-672C-4A6E-9CCF-2501D3900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B0B157-BA67-454D-8479-8D9371546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ptions is a better predictor in year 1, implying usage is important for rook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DCE942-2423-474C-A720-FF32A1A853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5886" y="1520402"/>
            <a:ext cx="8116903" cy="520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170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C7FDA9-2E25-4C29-83CB-3E6FE67029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19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C7FDA9-2E25-4C29-83CB-3E6FE6702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451673-672C-4A6E-9CCF-2501D3900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B0B157-BA67-454D-8479-8D9371546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ever by Y3 PFF is better at predicting Y5 Com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AF6F28-8217-41FF-8F28-34F716038F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0455" y="1163596"/>
            <a:ext cx="8691089" cy="557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07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A021A0-947D-4D9F-884A-EED1FC7F4A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A021A0-947D-4D9F-884A-EED1FC7F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A4D298-02CA-46B2-9B0D-D30B726C8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58600-E9A2-43DA-973D-A0CD20861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040" y="2180369"/>
            <a:ext cx="5451807" cy="34979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CF8FC23-B2C1-44CF-86C3-62BE98A7E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PFF is normally distributed, thus can reveal disparity in tal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6A306D-61EE-4E3D-AEA9-BE6B39857B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4957" y="1875823"/>
            <a:ext cx="4369988" cy="4107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93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A021A0-947D-4D9F-884A-EED1FC7F4A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77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A4D298-02CA-46B2-9B0D-D30B726C8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C41B89-7CD9-41C9-BB7C-D3F18CD457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2584" y="2190350"/>
            <a:ext cx="5523058" cy="354364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CF8FC23-B2C1-44CF-86C3-62BE98A7E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63850"/>
            <a:ext cx="11567160" cy="1325563"/>
          </a:xfrm>
        </p:spPr>
        <p:txBody>
          <a:bodyPr/>
          <a:lstStyle/>
          <a:p>
            <a:r>
              <a:rPr lang="en-US" dirty="0"/>
              <a:t>Remove Snap counts below 10?</a:t>
            </a:r>
          </a:p>
        </p:txBody>
      </p:sp>
    </p:spTree>
    <p:extLst>
      <p:ext uri="{BB962C8B-B14F-4D97-AF65-F5344CB8AC3E}">
        <p14:creationId xmlns:p14="http://schemas.microsoft.com/office/powerpoint/2010/main" val="2332453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2A8FA3-0628-4659-94D1-6F5C2D396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508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196CA92-F5F5-4A1B-8FEB-C00E0379EC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72A562-FAEA-4670-B2A9-39BAA91DA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ncreases by experience, indicating only better players surviv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9E2FBE-0520-44A8-BE1D-F45F692B7F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80" y="1897812"/>
            <a:ext cx="6499625" cy="41702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709431-BE08-4E00-BC7A-54E1814863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8161" y="1254421"/>
            <a:ext cx="5208716" cy="488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960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65F09D6-B689-487A-8409-2551DAEF2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14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F7F35C0-73D4-4B0C-872A-A5B6C5F3D3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14E169-6502-4BAF-9322-40CEB1B43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s correlated positively with Sal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49A699-BE44-47D8-9695-F6A47FD214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257" y="1483809"/>
            <a:ext cx="5102014" cy="47886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3EC379-BCCD-4475-B681-D4B6220E45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1106" y="1570675"/>
            <a:ext cx="5009463" cy="470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1287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65F09D6-B689-487A-8409-2551DAEF2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42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65F09D6-B689-487A-8409-2551DAEF2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F7F35C0-73D4-4B0C-872A-A5B6C5F3D3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14E169-6502-4BAF-9322-40CEB1B43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is correlated positively with Sna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B86F63-3157-4A1F-9B6B-5DCA4C3FCB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145" y="2193646"/>
            <a:ext cx="5904270" cy="378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019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C64321-E39C-4858-9A7E-4FF474CC4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154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2ABB2DD-CA82-45A9-BF5E-90C067184B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78C9F6-3894-4094-A61B-6E075EB05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can predict future PFF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D7FDDC-19E3-4999-A175-0B592717D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822863"/>
            <a:ext cx="6351458" cy="40751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177D9C-4323-4053-971A-9BCFCE3627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2724" y="1589413"/>
            <a:ext cx="4917056" cy="461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12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C64321-E39C-4858-9A7E-4FF474CC4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389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FC64321-E39C-4858-9A7E-4FF474CC4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2ABB2DD-CA82-45A9-BF5E-90C067184B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78C9F6-3894-4094-A61B-6E075EB05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F can predict future Salar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3D905C-8255-47D9-8311-8E888CA38A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614" y="2062045"/>
            <a:ext cx="5989386" cy="38428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343BF29-1ADB-4006-A7EA-645F15DB3E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8141" y="1867964"/>
            <a:ext cx="5679059" cy="4036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210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E0F505-73DA-4D29-9FE1-5A8A109B30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76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5" imgW="573" imgH="574" progId="TCLayout.ActiveDocument.1">
                  <p:embed/>
                </p:oleObj>
              </mc:Choice>
              <mc:Fallback>
                <p:oleObj name="think-cell Slide" r:id="rId5" imgW="573" imgH="5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827AEE-EACD-483D-8DF3-DB290BEF9A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2DB987-7A4F-4299-8DB8-D57E2F96B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BD: Career Performance Score by Draft Ran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0883C7-442B-42BB-9A4C-281F7DF3E3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9351" y="1958004"/>
            <a:ext cx="7609802" cy="404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076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yEERuWM_s3fOJPrxg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JZG4IlmOPVD6iSLvbT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1gsTre0vQ8IGEWcGaI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EcFv9z4wwer5Yo7tms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bbEbJo0rayrQNbgkO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bfCg8nzFb5jSuyVZD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j9Kj9nULOMej1kZt_N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qDtVLn5q6I02gbCFKV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Ty2V6fGa1dp0ZHF4yP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OA_0xv9pizj0rwoQe2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Ty2V6fGa1dp0ZHF4yP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tsdOuEr98G02_1qAwf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BLaKyuYSDnCPro2kO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BLaKyuYSDnCPro2kO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6a0HxqdBCxNj0reByV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6a0HxqdBCxNj0reByV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pcCC3kFYGp7KjcBIIe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1hllvAeGcKIhzTd_I2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N5PoXNZOGFTp7F1L5z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LOap8QhR098YSyl5zM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LVV.g75Vku0CmcDd3g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AyFBTA.xWKiwH3tHmi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83KanK2N4E0K_Bbtb9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szlP3hZkslCMrn1ZXE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szlP3hZkslCMrn1ZXE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4DKCcM581wvDb7c.dq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H4Ns0DNvU.PtaAv1G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10</TotalTime>
  <Words>151</Words>
  <Application>Microsoft Office PowerPoint</Application>
  <PresentationFormat>Widescreen</PresentationFormat>
  <Paragraphs>18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alibri Light</vt:lpstr>
      <vt:lpstr>Office Theme</vt:lpstr>
      <vt:lpstr>think-cell Slide</vt:lpstr>
      <vt:lpstr>Analysis of Draft Value &amp; Predictors of Success in the NFL Draft​</vt:lpstr>
      <vt:lpstr>PFF is normally distributed, thus can reveal disparity in talent</vt:lpstr>
      <vt:lpstr>Remove Snap counts below 10?</vt:lpstr>
      <vt:lpstr>PFF increases by experience, indicating only better players survive</vt:lpstr>
      <vt:lpstr>PFF is correlated positively with Salary</vt:lpstr>
      <vt:lpstr>PFF is correlated positively with Snaps</vt:lpstr>
      <vt:lpstr>PFF can predict future PFF</vt:lpstr>
      <vt:lpstr>PFF can predict future Salary</vt:lpstr>
      <vt:lpstr>TBD: Career Performance Score by Draft Rank</vt:lpstr>
      <vt:lpstr>GMs know what they are doing?</vt:lpstr>
      <vt:lpstr>PFF by Draft Rank</vt:lpstr>
      <vt:lpstr>Regressing Salary Within Season PFF and Performance</vt:lpstr>
      <vt:lpstr>Other Scatter Plots</vt:lpstr>
      <vt:lpstr>PFF does not correlate with snaps as well as receptions other usage metrics do (opportunity)</vt:lpstr>
      <vt:lpstr>Receptions is a better predictor in year 1, implying usage is important for rookies</vt:lpstr>
      <vt:lpstr>However by Y3 PFF is better at predicting Y5 Com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nando serrano</dc:creator>
  <cp:lastModifiedBy>Karam Chadha</cp:lastModifiedBy>
  <cp:revision>88</cp:revision>
  <dcterms:created xsi:type="dcterms:W3CDTF">2020-05-10T19:05:36Z</dcterms:created>
  <dcterms:modified xsi:type="dcterms:W3CDTF">2020-06-08T00:37:52Z</dcterms:modified>
</cp:coreProperties>
</file>